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12192000" cy="6858000"/>
  <p:notesSz cx="6858000" cy="9144000"/>
  <p:custDataLst>
    <p:tags r:id="rId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4660"/>
  </p:normalViewPr>
  <p:slideViewPr>
    <p:cSldViewPr snapToGrid="0">
      <p:cViewPr varScale="1">
        <p:scale>
          <a:sx n="108" d="100"/>
          <a:sy n="108" d="100"/>
        </p:scale>
        <p:origin x="65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361153594057243E-2"/>
          <c:y val="6.3445101906640364E-2"/>
          <c:w val="0.97727769281188548"/>
          <c:h val="0.8731097961867192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34B6F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00A9F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DAA6-489A-8ABC-C6E499419023}"/>
              </c:ext>
            </c:extLst>
          </c:dPt>
          <c:dLbls>
            <c:dLbl>
              <c:idx val="0"/>
              <c:layout>
                <c:manualLayout>
                  <c:x val="0"/>
                  <c:y val="-9.861932938856016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AA6-489A-8ABC-C6E499419023}"/>
                </c:ext>
              </c:extLst>
            </c:dLbl>
            <c:dLbl>
              <c:idx val="1"/>
              <c:layout>
                <c:manualLayout>
                  <c:x val="0"/>
                  <c:y val="-9.861932938856016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AA6-489A-8ABC-C6E49941902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5</c:v>
                </c:pt>
                <c:pt idx="1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AA6-489A-8ABC-C6E499419023}"/>
            </c:ext>
          </c:extLst>
        </c:ser>
        <c:ser>
          <c:idx val="1"/>
          <c:order val="1"/>
          <c:spPr>
            <a:solidFill>
              <a:srgbClr val="027AB1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AAE6F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DAA6-489A-8ABC-C6E499419023}"/>
              </c:ext>
            </c:extLst>
          </c:dPt>
          <c:dLbls>
            <c:dLbl>
              <c:idx val="0"/>
              <c:layout>
                <c:manualLayout>
                  <c:x val="0"/>
                  <c:y val="-9.861932938856016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DAA6-489A-8ABC-C6E499419023}"/>
                </c:ext>
              </c:extLst>
            </c:dLbl>
            <c:dLbl>
              <c:idx val="1"/>
              <c:layout>
                <c:manualLayout>
                  <c:x val="0"/>
                  <c:y val="-9.861932938856016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AA6-489A-8ABC-C6E49941902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B$2</c:f>
              <c:numCache>
                <c:formatCode>General</c:formatCode>
                <c:ptCount val="2"/>
                <c:pt idx="0">
                  <c:v>3</c:v>
                </c:pt>
                <c:pt idx="1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AA6-489A-8ABC-C6E499419023}"/>
            </c:ext>
          </c:extLst>
        </c:ser>
        <c:ser>
          <c:idx val="2"/>
          <c:order val="2"/>
          <c:spPr>
            <a:solidFill>
              <a:srgbClr val="D0D0D0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00A9F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DAA6-489A-8ABC-C6E499419023}"/>
              </c:ext>
            </c:extLst>
          </c:dPt>
          <c:dLbls>
            <c:dLbl>
              <c:idx val="0"/>
              <c:layout>
                <c:manualLayout>
                  <c:x val="0"/>
                  <c:y val="-9.861932938856016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DAA6-489A-8ABC-C6E499419023}"/>
                </c:ext>
              </c:extLst>
            </c:dLbl>
            <c:dLbl>
              <c:idx val="1"/>
              <c:layout>
                <c:manualLayout>
                  <c:x val="0"/>
                  <c:y val="-9.861932938856016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DAA6-489A-8ABC-C6E49941902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B$3</c:f>
              <c:numCache>
                <c:formatCode>General</c:formatCode>
                <c:ptCount val="2"/>
                <c:pt idx="0">
                  <c:v>10</c:v>
                </c:pt>
                <c:pt idx="1">
                  <c:v>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AA6-489A-8ABC-C6E499419023}"/>
            </c:ext>
          </c:extLst>
        </c:ser>
        <c:ser>
          <c:idx val="3"/>
          <c:order val="3"/>
          <c:spPr>
            <a:solidFill>
              <a:srgbClr val="027AB1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AAE6F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DAA6-489A-8ABC-C6E499419023}"/>
              </c:ext>
            </c:extLst>
          </c:dPt>
          <c:dLbls>
            <c:dLbl>
              <c:idx val="0"/>
              <c:layout>
                <c:manualLayout>
                  <c:x val="0"/>
                  <c:y val="-9.861932938856016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DAA6-489A-8ABC-C6E49941902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B$4</c:f>
              <c:numCache>
                <c:formatCode>General</c:formatCode>
                <c:ptCount val="2"/>
                <c:pt idx="0">
                  <c:v>9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DAA6-489A-8ABC-C6E499419023}"/>
            </c:ext>
          </c:extLst>
        </c:ser>
        <c:ser>
          <c:idx val="4"/>
          <c:order val="4"/>
          <c:spPr>
            <a:solidFill>
              <a:srgbClr val="034B6F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D0D0D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B-DAA6-489A-8ABC-C6E499419023}"/>
              </c:ext>
            </c:extLst>
          </c:dPt>
          <c:dLbls>
            <c:dLbl>
              <c:idx val="0"/>
              <c:layout>
                <c:manualLayout>
                  <c:x val="0"/>
                  <c:y val="-9.861932938856016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DAA6-489A-8ABC-C6E49941902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:$B$5</c:f>
              <c:numCache>
                <c:formatCode>General</c:formatCode>
                <c:ptCount val="2"/>
                <c:pt idx="0">
                  <c:v>27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DAA6-489A-8ABC-C6E4994190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652324863"/>
        <c:axId val="1"/>
      </c:barChart>
      <c:catAx>
        <c:axId val="165232486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5232486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AA2BC2-FD55-033B-493A-D132437E61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0B87F9E-A54E-35ED-9D68-F7B348F1D59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6E6A31C-7B84-7DC7-707F-D2E91DFDB3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AEB752-E533-4C0B-8858-76B69B320C9B}" type="datetimeFigureOut">
              <a:rPr lang="en-GB" smtClean="0"/>
              <a:t>16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90F43C-87E7-A4F4-B079-BE574D8A1C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685D5A-D906-CEDE-7B1F-7D9FE9BF5D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99FD0-0747-4AA7-BF14-61938A2F821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091501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B1C5C9-1858-0CDF-FD72-0382CA507D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C602119-ECFE-9408-2162-8F17467760B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94862EC-B6F4-E240-168F-C8A4449B98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AEB752-E533-4C0B-8858-76B69B320C9B}" type="datetimeFigureOut">
              <a:rPr lang="en-GB" smtClean="0"/>
              <a:t>16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E9B659-4E8F-8265-1DCC-B61E6BB46F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66CD976-1824-D790-473D-2BF3F0C6F3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99FD0-0747-4AA7-BF14-61938A2F821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98174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EE3D404-C005-E466-1A52-128EAFAA789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6F5A139-465A-381B-DC8F-5811FC1F284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8E9531D-5344-6D81-70B4-769BF34DD1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AEB752-E533-4C0B-8858-76B69B320C9B}" type="datetimeFigureOut">
              <a:rPr lang="en-GB" smtClean="0"/>
              <a:t>16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3BAC65-BAA2-D81D-BF4F-E17732A7EE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9664C7-0D2B-BC59-7ED9-1110693715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99FD0-0747-4AA7-BF14-61938A2F821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165063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1117A2-C7A3-1BBC-92D6-18E4A1B668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38DC6EE-816B-2173-8057-08733EB5DF4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194B3B-D99A-696C-9231-878BE895C4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AEB752-E533-4C0B-8858-76B69B320C9B}" type="datetimeFigureOut">
              <a:rPr lang="en-GB" smtClean="0"/>
              <a:t>16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5D1467-FFDE-6555-57B2-328A1EE79E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BF0C46-57C5-2A6D-8B67-298A4DEE53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99FD0-0747-4AA7-BF14-61938A2F821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534451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9FF27D-FED8-9F13-AE0E-39E5882C90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E180A52-0646-4632-9EA6-654047C69F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D18EDD-526B-1A53-A8D4-0527214832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AEB752-E533-4C0B-8858-76B69B320C9B}" type="datetimeFigureOut">
              <a:rPr lang="en-GB" smtClean="0"/>
              <a:t>16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25177FB-C906-E3C6-0EE9-B8CC2309A7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F778E6A-B42B-F3A0-2CE9-2337E827EF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99FD0-0747-4AA7-BF14-61938A2F821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19270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4C7B7D-2F0D-DB79-72C7-3816BA856A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A88F69-B80C-3672-080A-A849BD1E255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3113214-D872-C550-5C58-C2B23CE531E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AE5DC7D-A12F-C7CA-75C9-DF77C7C7E3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AEB752-E533-4C0B-8858-76B69B320C9B}" type="datetimeFigureOut">
              <a:rPr lang="en-GB" smtClean="0"/>
              <a:t>16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49FCD5E-229F-CDDC-E1FA-2373415C11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068FDEE-EAE8-6038-3CCF-C4DB56D0F5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99FD0-0747-4AA7-BF14-61938A2F821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598136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AD02DA-448A-DD56-AA62-B33828E565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3661B02-E83D-4BA1-DA2F-19B83BC49E8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8ECF769-9D9E-EC81-3F05-D9B5B1B16E6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8D08C30-4EC3-C87B-25C7-78E1D66FB55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8746B69-CBC1-A5DF-CB88-68D0B9AA7AF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35BAA8A-77A6-33DA-302F-5AB9165825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AEB752-E533-4C0B-8858-76B69B320C9B}" type="datetimeFigureOut">
              <a:rPr lang="en-GB" smtClean="0"/>
              <a:t>16/06/2024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5D05BC6-B06E-F3E8-7CAD-7E700AC371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F06E7E6-7212-EC64-5F50-1107F7AF9C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99FD0-0747-4AA7-BF14-61938A2F821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22147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15E89B-D74F-D258-3BA4-DE72BE7545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F44C759-0434-FB9F-8E87-3594A402AF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AEB752-E533-4C0B-8858-76B69B320C9B}" type="datetimeFigureOut">
              <a:rPr lang="en-GB" smtClean="0"/>
              <a:t>16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93E755F-54F3-BF31-734B-2E0103DA0B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E363C1-012D-37F7-A164-F09BCE597D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99FD0-0747-4AA7-BF14-61938A2F821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417006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5809113-1E07-2576-9A3E-AEBF21A4D4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AEB752-E533-4C0B-8858-76B69B320C9B}" type="datetimeFigureOut">
              <a:rPr lang="en-GB" smtClean="0"/>
              <a:t>16/06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6E69614-EBEF-18F6-4F6A-5C6663F9B1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7C18B2-A520-F2BA-AC16-C80DE54722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99FD0-0747-4AA7-BF14-61938A2F821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33826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E99EF7-BA83-ABBE-871B-6EF4C9AA01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9B87F6-966A-E583-D74E-1E7CFCCCE1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7E4ED5A-2A24-5BA7-E66B-C03C3D1C300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6A065F4-0148-9497-7D80-AF668A8246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AEB752-E533-4C0B-8858-76B69B320C9B}" type="datetimeFigureOut">
              <a:rPr lang="en-GB" smtClean="0"/>
              <a:t>16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67374DE-7B97-E1D6-4454-7529C69467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5264672-E54E-6667-8327-8CC1926D24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99FD0-0747-4AA7-BF14-61938A2F821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51911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D9263F-386D-D15F-04EC-D7F5009F0D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57AD008-3638-3B7C-8B95-F863EA1F374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D47C77C-F682-3B41-F92F-636BE1E8D0C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B990428-FF15-C58E-E7FA-7A64AC956B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AEB752-E533-4C0B-8858-76B69B320C9B}" type="datetimeFigureOut">
              <a:rPr lang="en-GB" smtClean="0"/>
              <a:t>16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11E66C6-6366-6886-1D0E-A7C70AA027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F6AEB79-6D86-C6A1-CF1A-6A28676AD2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699FD0-0747-4AA7-BF14-61938A2F821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09205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F49E70A-CF84-8C86-74B7-61493E03D0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980323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129EF90-AD7E-5752-B83D-2C0992DC0E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E587BB-DDF6-7A4D-356F-4D0E015A40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F5EFA8-E60B-CE5B-04EB-9E20C942731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AEB752-E533-4C0B-8858-76B69B320C9B}" type="datetimeFigureOut">
              <a:rPr lang="en-GB" smtClean="0"/>
              <a:t>16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4DDF85-A3B5-2F4A-0482-016F031C2A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471842-A6A9-ED9B-2766-0078DD0E5D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699FD0-0747-4AA7-BF14-61938A2F821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15733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chart" Target="../charts/chart1.xml"/><Relationship Id="rId2" Type="http://schemas.openxmlformats.org/officeDocument/2006/relationships/tags" Target="../tags/tag4.xml"/><Relationship Id="rId16" Type="http://schemas.openxmlformats.org/officeDocument/2006/relationships/image" Target="../media/image1.emf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5" Type="http://schemas.openxmlformats.org/officeDocument/2006/relationships/tags" Target="../tags/tag7.xml"/><Relationship Id="rId15" Type="http://schemas.openxmlformats.org/officeDocument/2006/relationships/oleObject" Target="../embeddings/oleObject2.bin"/><Relationship Id="rId10" Type="http://schemas.openxmlformats.org/officeDocument/2006/relationships/tags" Target="../tags/tag12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B4D8635-DD14-84EF-27F9-8A762E6620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7620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3BA80E86-7755-AAAE-0751-DAE8113FACA0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2816068"/>
              </p:ext>
            </p:extLst>
          </p:nvPr>
        </p:nvGraphicFramePr>
        <p:xfrm>
          <a:off x="1152525" y="1141413"/>
          <a:ext cx="7265988" cy="4829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02E587BB-DDF6-7A4D-356F-4D0E015A4002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2959100" y="5819775"/>
            <a:ext cx="1031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2BCABCC-88CA-482D-9E08-6D4A8A7B8ADE}" type="datetime'''1'''''''''''">
              <a:rPr lang="en-GB" altLang="en-US" sz="1400" smtClean="0"/>
              <a:pPr/>
              <a:t>1</a:t>
            </a:fld>
            <a:endParaRPr lang="en-GB" sz="1400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02E587BB-DDF6-7A4D-356F-4D0E015A4002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6508750" y="5819775"/>
            <a:ext cx="1031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777AAE0-ACD5-4941-8C6F-DCDD26372186}" type="datetime'''''0'''''''''''''''''''''''''''''''''">
              <a:rPr lang="en-GB" altLang="en-US" sz="1400" smtClean="0"/>
              <a:pPr/>
              <a:t>0</a:t>
            </a:fld>
            <a:endParaRPr lang="en-GB" sz="1400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02E587BB-DDF6-7A4D-356F-4D0E015A4002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790700" y="2674938"/>
            <a:ext cx="904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F9A1CBB-765C-49E2-8E36-3092BBB625A2}" type="datetime'''''''''''''''''''''''''''''0'''''''''''''''''">
              <a:rPr lang="en-GB" altLang="en-US" sz="1400" smtClean="0"/>
              <a:pPr/>
              <a:t>0</a:t>
            </a:fld>
            <a:endParaRPr lang="en-GB" sz="1400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02E587BB-DDF6-7A4D-356F-4D0E015A4002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790700" y="3960813"/>
            <a:ext cx="904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6057660-2B0F-49D2-A386-6DA95B9C8602}" type="datetime'''''''''''''''''''''''''''''''''''''''''1'''''''''''''''">
              <a:rPr lang="en-GB" altLang="en-US" sz="1400" smtClean="0"/>
              <a:pPr/>
              <a:t>1</a:t>
            </a:fld>
            <a:endParaRPr lang="en-GB" sz="1400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2E587BB-DDF6-7A4D-356F-4D0E015A4002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790700" y="4640263"/>
            <a:ext cx="904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2EDE6CA-EC5D-4952-966E-CBB41D5FC123}" type="datetime'''''''''''''''''''''2'''''''''''''''''''''''''''''''''''''">
              <a:rPr lang="en-GB" altLang="en-US" sz="1400" smtClean="0"/>
              <a:pPr/>
              <a:t>2</a:t>
            </a:fld>
            <a:endParaRPr lang="en-GB" sz="1400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02E587BB-DDF6-7A4D-356F-4D0E015A4002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2894013" y="1587500"/>
            <a:ext cx="2317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B3A6A57-B0C5-4E91-BFEC-E7B09C3E1557}" type="datetime'''''''''''5''''''''''''''''''''''4'''''''''''''''''">
              <a:rPr lang="en-GB" altLang="en-US" sz="1400" smtClean="0"/>
              <a:pPr/>
              <a:t>54</a:t>
            </a:fld>
            <a:endParaRPr lang="en-GB" sz="1400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2E587BB-DDF6-7A4D-356F-4D0E015A4002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6443663" y="1230313"/>
            <a:ext cx="2317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930C070-5F90-4EF9-89B7-8325F3E2B139}" type="datetime'''''''''''''''''''''''''''''''''''''5''''''''9'''">
              <a:rPr lang="en-GB" altLang="en-US" sz="1400" smtClean="0"/>
              <a:pPr/>
              <a:t>59</a:t>
            </a:fld>
            <a:endParaRPr lang="en-GB" sz="1400" dirty="0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77B9218D-7308-9DCD-6972-771F0F928056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790700" y="5103813"/>
            <a:ext cx="904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CBAFA7E-21D4-496D-893D-E135D7EE958B}" type="datetime'''3'''''''''''''''''''''''''''''''''''">
              <a:rPr lang="en-GB" altLang="en-US" sz="1400" smtClean="0"/>
              <a:pPr/>
              <a:t>3</a:t>
            </a:fld>
            <a:endParaRPr lang="en-GB" sz="14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843D23A-1027-9933-ACD9-8BDD795706F6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790700" y="5389563"/>
            <a:ext cx="904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E0F00CC-EF3A-48F9-BC6A-42897F035C94}" type="datetime'''''''''''''''''''4'''''''''''''''''''''">
              <a:rPr lang="en-GB" altLang="en-US" sz="1400" smtClean="0"/>
              <a:pPr/>
              <a:t>4</a:t>
            </a:fld>
            <a:endParaRPr lang="en-GB" sz="140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02E587BB-DDF6-7A4D-356F-4D0E015A4002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6983413" y="5568950"/>
            <a:ext cx="141288" cy="192088"/>
          </a:xfrm>
          <a:prstGeom prst="rect">
            <a:avLst/>
          </a:prstGeom>
          <a:solidFill>
            <a:srgbClr val="027AB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5FBA42B-46F9-457F-AAF8-CB5916C2B1F9}" type="datetime'''''''0'''''''">
              <a:rPr lang="en-GB" altLang="en-US" sz="14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2E587BB-DDF6-7A4D-356F-4D0E015A4002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5997575" y="5568950"/>
            <a:ext cx="141288" cy="192088"/>
          </a:xfrm>
          <a:prstGeom prst="rect">
            <a:avLst/>
          </a:prstGeom>
          <a:solidFill>
            <a:srgbClr val="034B6F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3629858-318C-47E4-896A-95CC63A13133}" type="datetime'''''''''''''''''''''0'">
              <a:rPr lang="en-GB" altLang="en-US" sz="14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GB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87348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47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EHgU5qBj0OKAtS26hb5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B4cxmPv.GzkaO9tYrcNQ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2jOgRJ6u3i7EO.mU5T1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ugGR1gM4IRqaWnzGKG4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8kVc5ZZ2vuW9XFV3I4t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59xQqmjsFdMCS9cSyXw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W0A4rcWTzvQXLcV_5K3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L1_698b9jjNXcd1CCCB3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6WT_62ldMz5QD5j_CK2W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TDiCyCr2SynGigtYagN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5oMl58oWSdsAonHYK1Q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EaEqdOAsqEUqkFY1l1O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401E8CAE-F827-4245-A6F5-E7997688B7CE}" vid="{16EF138E-F572-4560-84B1-AC4E168C5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ar_chart_template</Template>
  <TotalTime>0</TotalTime>
  <Words>11</Words>
  <Application>Microsoft Office PowerPoint</Application>
  <PresentationFormat>Widescreen</PresentationFormat>
  <Paragraphs>1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Ollie Thurston</dc:creator>
  <cp:lastModifiedBy>Ollie Thurston</cp:lastModifiedBy>
  <cp:revision>1</cp:revision>
  <dcterms:created xsi:type="dcterms:W3CDTF">2024-06-16T15:16:11Z</dcterms:created>
  <dcterms:modified xsi:type="dcterms:W3CDTF">2024-06-16T15:16:13Z</dcterms:modified>
</cp:coreProperties>
</file>